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8" r:id="rId1"/>
  </p:sldMasterIdLst>
  <p:notesMasterIdLst>
    <p:notesMasterId r:id="rId6"/>
  </p:notesMasterIdLst>
  <p:handoutMasterIdLst>
    <p:handoutMasterId r:id="rId7"/>
  </p:handoutMasterIdLst>
  <p:sldIdLst>
    <p:sldId id="540" r:id="rId2"/>
    <p:sldId id="538" r:id="rId3"/>
    <p:sldId id="539" r:id="rId4"/>
    <p:sldId id="541" r:id="rId5"/>
  </p:sldIdLst>
  <p:sldSz cx="9144000" cy="5143500" type="screen16x9"/>
  <p:notesSz cx="7104063" cy="10234613"/>
  <p:custDataLst>
    <p:tags r:id="rId8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" userDrawn="1">
          <p15:clr>
            <a:srgbClr val="A4A3A4"/>
          </p15:clr>
        </p15:guide>
        <p15:guide id="2" pos="385" userDrawn="1">
          <p15:clr>
            <a:srgbClr val="A4A3A4"/>
          </p15:clr>
        </p15:guide>
        <p15:guide id="3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900"/>
    <a:srgbClr val="FF9535"/>
    <a:srgbClr val="27596F"/>
    <a:srgbClr val="B1E0E4"/>
    <a:srgbClr val="ADC5D1"/>
    <a:srgbClr val="8FB4C4"/>
    <a:srgbClr val="FF7C00"/>
    <a:srgbClr val="004479"/>
    <a:srgbClr val="003358"/>
    <a:srgbClr val="D3DF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704" autoAdjust="0"/>
    <p:restoredTop sz="94694" autoAdjust="0"/>
  </p:normalViewPr>
  <p:slideViewPr>
    <p:cSldViewPr snapToGrid="0" snapToObjects="1" showGuides="1">
      <p:cViewPr>
        <p:scale>
          <a:sx n="75" d="100"/>
          <a:sy n="75" d="100"/>
        </p:scale>
        <p:origin x="1450" y="451"/>
      </p:cViewPr>
      <p:guideLst>
        <p:guide orient="horz" pos="146"/>
        <p:guide pos="385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3" d="100"/>
          <a:sy n="43" d="100"/>
        </p:scale>
        <p:origin x="277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0985704-09E3-43F0-A0EB-B6FF745470E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8163" cy="51276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3AFEA04-2ADE-421B-9283-675A168AC09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4313" y="1"/>
            <a:ext cx="3078162" cy="51276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C49D674-5610-415E-B937-CA3A8818A4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721851"/>
            <a:ext cx="3777486" cy="51276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r>
              <a:rPr lang="de-DE" dirty="0"/>
              <a:t>Master Science Camp 23.-2.10.2024, TU Ilmenau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55EC2F5-5282-4FEB-82F4-E45F7A6D3F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4313" y="9721851"/>
            <a:ext cx="3078162" cy="51276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8CEAC1E2-DCAF-445D-9926-FC62FA55BA4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60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9065" tIns="49532" rIns="99065" bIns="49532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3508"/>
          </a:xfrm>
          <a:prstGeom prst="rect">
            <a:avLst/>
          </a:prstGeom>
        </p:spPr>
        <p:txBody>
          <a:bodyPr vert="horz" lIns="99065" tIns="49532" rIns="99065" bIns="49532" rtlCol="0"/>
          <a:lstStyle>
            <a:lvl1pPr algn="r">
              <a:defRPr sz="1300"/>
            </a:lvl1pPr>
          </a:lstStyle>
          <a:p>
            <a:fld id="{87248000-DA9F-EC4E-B523-8C052A90EE31}" type="datetimeFigureOut">
              <a:rPr lang="de-DE" smtClean="0"/>
              <a:t>01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5" tIns="49532" rIns="99065" bIns="4953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65" tIns="49532" rIns="99065" bIns="49532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8427" cy="513507"/>
          </a:xfrm>
          <a:prstGeom prst="rect">
            <a:avLst/>
          </a:prstGeom>
        </p:spPr>
        <p:txBody>
          <a:bodyPr vert="horz" lIns="99065" tIns="49532" rIns="99065" bIns="49532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3" y="9721108"/>
            <a:ext cx="3078427" cy="513507"/>
          </a:xfrm>
          <a:prstGeom prst="rect">
            <a:avLst/>
          </a:prstGeom>
        </p:spPr>
        <p:txBody>
          <a:bodyPr vert="horz" lIns="99065" tIns="49532" rIns="99065" bIns="49532" rtlCol="0" anchor="b"/>
          <a:lstStyle>
            <a:lvl1pPr algn="r">
              <a:defRPr sz="1300"/>
            </a:lvl1pPr>
          </a:lstStyle>
          <a:p>
            <a:fld id="{EAB74058-EEFA-1547-9728-76A16B36686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66573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er 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723454"/>
            <a:ext cx="661260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C8083FA9-7C11-B04D-BE6F-500EF6F49D2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DDF78BE-0D35-D542-88A7-2B4794BE2B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8804" y="1635124"/>
            <a:ext cx="4047699" cy="255111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ts val="2300"/>
              </a:lnSpc>
              <a:spcBef>
                <a:spcPts val="48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003359"/>
                </a:solidFill>
              </a:defRPr>
            </a:lvl1pPr>
          </a:lstStyle>
          <a:p>
            <a:pPr marL="12700" marR="0" lvl="0" indent="0" algn="l" defTabSz="685800" rtl="0" eaLnBrk="1" fontAlgn="auto" latinLnBrk="0" hangingPunct="1">
              <a:lnSpc>
                <a:spcPts val="2300"/>
              </a:lnSpc>
              <a:spcBef>
                <a:spcPts val="4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spc="-5" dirty="0">
                <a:solidFill>
                  <a:srgbClr val="003358"/>
                </a:solidFill>
                <a:latin typeface="Arial"/>
                <a:cs typeface="Arial"/>
              </a:rPr>
              <a:t>2-Spalter 50/50, Arial 16 </a:t>
            </a:r>
            <a:r>
              <a:rPr lang="de-DE" sz="1600" b="1" dirty="0">
                <a:solidFill>
                  <a:srgbClr val="003358"/>
                </a:solidFill>
                <a:latin typeface="Arial"/>
                <a:cs typeface="Arial"/>
              </a:rPr>
              <a:t>PT</a:t>
            </a:r>
            <a:r>
              <a:rPr lang="de-DE" sz="1600" b="1" spc="-5" dirty="0">
                <a:solidFill>
                  <a:srgbClr val="003358"/>
                </a:solidFill>
                <a:latin typeface="Arial"/>
                <a:cs typeface="Arial"/>
              </a:rPr>
              <a:t>, ZAB 23</a:t>
            </a:r>
            <a:r>
              <a:rPr lang="de-DE" sz="1600" b="1" dirty="0">
                <a:latin typeface="Arial"/>
                <a:cs typeface="Arial"/>
              </a:rPr>
              <a:t> </a:t>
            </a:r>
            <a:br>
              <a:rPr lang="de-DE" sz="1600" dirty="0">
                <a:latin typeface="Arial"/>
                <a:cs typeface="Arial"/>
              </a:rPr>
            </a:b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Das </a:t>
            </a:r>
            <a:r>
              <a:rPr lang="de-DE" sz="1600" spc="-20" dirty="0" err="1">
                <a:solidFill>
                  <a:srgbClr val="003358"/>
                </a:solidFill>
                <a:latin typeface="Arial"/>
                <a:cs typeface="Arial"/>
              </a:rPr>
              <a:t>reatur</a:t>
            </a:r>
            <a:r>
              <a:rPr lang="de-DE" sz="1600" spc="-20" dirty="0">
                <a:solidFill>
                  <a:srgbClr val="003358"/>
                </a:solidFill>
                <a:latin typeface="Arial"/>
                <a:cs typeface="Arial"/>
              </a:rPr>
              <a:t>,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cor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aut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eatius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,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nonectem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ressit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quo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bla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parciam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es ne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peritaquae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quas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niminctet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offic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temporum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 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sa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siminciet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que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volor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mos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et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andae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qui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quaspeum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alitint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,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omnis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eum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rest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asimincilia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fuga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.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Nemquaectur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sit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la 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conserspist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,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quodis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ilicilles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sit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acestrum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nempore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, </a:t>
            </a:r>
            <a:r>
              <a:rPr lang="de-DE" sz="1600" dirty="0" err="1">
                <a:solidFill>
                  <a:srgbClr val="003358"/>
                </a:solidFill>
                <a:latin typeface="Arial"/>
                <a:cs typeface="Arial"/>
              </a:rPr>
              <a:t>volupta</a:t>
            </a:r>
            <a:r>
              <a:rPr lang="de-DE" sz="1600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nestiorunti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denia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</a:t>
            </a:r>
            <a:r>
              <a:rPr lang="de-DE" sz="1600" spc="-5" dirty="0" err="1">
                <a:solidFill>
                  <a:srgbClr val="003358"/>
                </a:solidFill>
                <a:latin typeface="Arial"/>
                <a:cs typeface="Arial"/>
              </a:rPr>
              <a:t>eum</a:t>
            </a:r>
            <a:r>
              <a:rPr lang="de-DE" sz="1600" spc="-5" dirty="0">
                <a:solidFill>
                  <a:srgbClr val="003358"/>
                </a:solidFill>
                <a:latin typeface="Arial"/>
                <a:cs typeface="Arial"/>
              </a:rPr>
              <a:t> Mustertext.</a:t>
            </a:r>
            <a:endParaRPr lang="de-DE" sz="1600" b="1" spc="-5" dirty="0">
              <a:solidFill>
                <a:srgbClr val="003358"/>
              </a:solidFill>
              <a:latin typeface="Arial"/>
              <a:cs typeface="Arial"/>
            </a:endParaRP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ACB0FC20-B3FB-E945-A9DE-0B4684EC1C5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635125"/>
            <a:ext cx="3977849" cy="255111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lang="de-DE" sz="2000" kern="1200" spc="-5" dirty="0">
                <a:solidFill>
                  <a:srgbClr val="003358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de-DE" dirty="0"/>
              <a:t>Bild durch Klicken auf Symbol in Bildmitte hinzufüg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60772B7E-51B9-5C43-82BC-679BBDE28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312" y="753428"/>
            <a:ext cx="8226000" cy="6715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003359"/>
                </a:solidFill>
              </a:defRPr>
            </a:lvl1pPr>
          </a:lstStyle>
          <a:p>
            <a:r>
              <a:rPr lang="de-DE" dirty="0"/>
              <a:t>Folienuntertitel durch Klicken bearbeiten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BA2E4ED7-C201-2E4B-8825-758C118A73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34841"/>
            <a:ext cx="8226000" cy="518588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3200" b="1" baseline="0">
                <a:solidFill>
                  <a:srgbClr val="FF7900"/>
                </a:solidFill>
              </a:defRPr>
            </a:lvl1pPr>
          </a:lstStyle>
          <a:p>
            <a:r>
              <a:rPr lang="de-DE" dirty="0"/>
              <a:t>Folien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50248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EEE72D-D3D0-4761-9671-08C317EA5E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7242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FD944FD-CA6B-4111-ADE9-DFBFD9D1AAF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D8115AD6-9C29-514F-B636-3753A40D3444}"/>
              </a:ext>
            </a:extLst>
          </p:cNvPr>
          <p:cNvSpPr/>
          <p:nvPr/>
        </p:nvSpPr>
        <p:spPr>
          <a:xfrm>
            <a:off x="0" y="4516438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6350">
            <a:solidFill>
              <a:srgbClr val="00747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6E020307-2C4B-064E-8E6B-916D2997EC36}"/>
              </a:ext>
            </a:extLst>
          </p:cNvPr>
          <p:cNvSpPr/>
          <p:nvPr userDrawn="1"/>
        </p:nvSpPr>
        <p:spPr>
          <a:xfrm>
            <a:off x="0" y="4516438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6350">
            <a:solidFill>
              <a:srgbClr val="00747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B323844-2DE0-6549-BCD6-CBF4B20B757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65685" y="4603102"/>
            <a:ext cx="1819565" cy="428133"/>
          </a:xfrm>
          <a:prstGeom prst="rect">
            <a:avLst/>
          </a:prstGeom>
        </p:spPr>
      </p:pic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7DB557C9-C2CD-C245-82F3-61BC8B458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112" y="234001"/>
            <a:ext cx="8246975" cy="565200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1001640" y="4691974"/>
            <a:ext cx="4247693" cy="250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l">
              <a:lnSpc>
                <a:spcPts val="2300"/>
              </a:lnSpc>
              <a:spcBef>
                <a:spcPts val="480"/>
              </a:spcBef>
            </a:pPr>
            <a:r>
              <a:rPr lang="de-DE" sz="1000" b="0" spc="-5" baseline="0" dirty="0">
                <a:solidFill>
                  <a:srgbClr val="003358"/>
                </a:solidFill>
                <a:latin typeface="Humanst521 Lt BT" panose="020B0402020204020304" pitchFamily="34" charset="0"/>
                <a:cs typeface="Arial"/>
              </a:rPr>
              <a:t>MASTER Science Camp vom 23. September – 2. Oktober 2024</a:t>
            </a:r>
            <a:endParaRPr lang="de-DE" sz="1000" b="0" spc="-5" dirty="0">
              <a:solidFill>
                <a:srgbClr val="003358"/>
              </a:solidFill>
              <a:latin typeface="Humanst521 Lt BT" panose="020B0402020204020304" pitchFamily="34" charset="0"/>
              <a:cs typeface="Arial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E0DAF57-000A-4B1E-9BDF-47AE6B56AFAD}"/>
              </a:ext>
            </a:extLst>
          </p:cNvPr>
          <p:cNvPicPr/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0098"/>
          <a:stretch/>
        </p:blipFill>
        <p:spPr bwMode="auto">
          <a:xfrm>
            <a:off x="156776" y="4547294"/>
            <a:ext cx="701675" cy="53975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48360F4-8CC9-4990-8B3C-67F18F9534F1}"/>
              </a:ext>
            </a:extLst>
          </p:cNvPr>
          <p:cNvPicPr/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3921" y="4705480"/>
            <a:ext cx="1298575" cy="32575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04821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FF7900"/>
          </a:solidFill>
          <a:latin typeface="Humnst777 BT" panose="020B0603030504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465" userDrawn="1">
          <p15:clr>
            <a:srgbClr val="F26B43"/>
          </p15:clr>
        </p15:guide>
        <p15:guide id="4" orient="horz" pos="30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DC1376-B144-9A5D-84F6-4C530A640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83FA9-7C11-B04D-BE6F-500EF6F49D2A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94DD481-E49D-1A3F-C3BC-1D8ADBB583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 descr="A group of colorful circles with text&#10;&#10;Description automatically generated">
            <a:extLst>
              <a:ext uri="{FF2B5EF4-FFF2-40B4-BE49-F238E27FC236}">
                <a16:creationId xmlns:a16="http://schemas.microsoft.com/office/drawing/2014/main" id="{083AECE2-9EF7-1808-4C7D-CBE1EA6560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00" y="549890"/>
            <a:ext cx="9144000" cy="3956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811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AF060E9-FA05-58EF-BEFA-F6E1F9FC3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83FA9-7C11-B04D-BE6F-500EF6F49D2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C010258-65AC-83F8-066F-B548835CF1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 descr="A group of colorful circles with text&#10;&#10;Description automatically generated">
            <a:extLst>
              <a:ext uri="{FF2B5EF4-FFF2-40B4-BE49-F238E27FC236}">
                <a16:creationId xmlns:a16="http://schemas.microsoft.com/office/drawing/2014/main" id="{C5BC165F-841F-DC67-FB34-3491081AC6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00" y="548358"/>
            <a:ext cx="9144000" cy="3959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346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C92F46-A533-B1FE-5D69-2E17849A2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83FA9-7C11-B04D-BE6F-500EF6F49D2A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A34F85B-FCDF-16ED-6B99-FD64C09A38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 descr="A close-up of a chart&#10;&#10;Description automatically generated">
            <a:extLst>
              <a:ext uri="{FF2B5EF4-FFF2-40B4-BE49-F238E27FC236}">
                <a16:creationId xmlns:a16="http://schemas.microsoft.com/office/drawing/2014/main" id="{15A21AE6-D531-6204-6A47-769A860DAD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2627"/>
            <a:ext cx="9144000" cy="3956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640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6AF85-0049-0760-FEF6-F608F0E36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83FA9-7C11-B04D-BE6F-500EF6F49D2A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7D8D0C-9824-871F-E701-E30BF5A091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6679"/>
            <a:ext cx="9144000" cy="3170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590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5RC_JnshHb446quc9aNA"/>
</p:tagLst>
</file>

<file path=ppt/theme/theme1.xml><?xml version="1.0" encoding="utf-8"?>
<a:theme xmlns:a="http://schemas.openxmlformats.org/drawingml/2006/main" name="Design_TU_Ilmenau">
  <a:themeElements>
    <a:clrScheme name="TU Ilmenau">
      <a:dk1>
        <a:srgbClr val="004479"/>
      </a:dk1>
      <a:lt1>
        <a:srgbClr val="FFFFFF"/>
      </a:lt1>
      <a:dk2>
        <a:srgbClr val="003358"/>
      </a:dk2>
      <a:lt2>
        <a:srgbClr val="E7E6E6"/>
      </a:lt2>
      <a:accent1>
        <a:srgbClr val="FF7C00"/>
      </a:accent1>
      <a:accent2>
        <a:srgbClr val="22B5E3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3358"/>
      </a:hlink>
      <a:folHlink>
        <a:srgbClr val="79797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>
        <a:spAutoFit/>
      </a:bodyPr>
      <a:lstStyle>
        <a:defPPr marL="12700" algn="l">
          <a:lnSpc>
            <a:spcPts val="2300"/>
          </a:lnSpc>
          <a:spcBef>
            <a:spcPts val="480"/>
          </a:spcBef>
          <a:defRPr sz="1600" b="1" spc="-5" dirty="0">
            <a:solidFill>
              <a:srgbClr val="003358"/>
            </a:solidFill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CD4BA848-6591-4D91-8501-17F660C3909B}" vid="{69CE01E0-F515-4425-8A44-DF98307A909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912_PPT_Vorlage_16zu9</Template>
  <TotalTime>0</TotalTime>
  <Words>4</Words>
  <Application>Microsoft Office PowerPoint</Application>
  <PresentationFormat>On-screen Show (16:9)</PresentationFormat>
  <Paragraphs>4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Humanst521 Lt BT</vt:lpstr>
      <vt:lpstr>Humnst777 BT</vt:lpstr>
      <vt:lpstr>Design_TU_Ilmenau</vt:lpstr>
      <vt:lpstr>think-cell Foli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bine</dc:creator>
  <cp:lastModifiedBy>TARUNKUMAR ASHOKKUMAR PARMAR</cp:lastModifiedBy>
  <cp:revision>382</cp:revision>
  <cp:lastPrinted>2024-09-23T07:18:01Z</cp:lastPrinted>
  <dcterms:created xsi:type="dcterms:W3CDTF">2020-02-08T11:30:12Z</dcterms:created>
  <dcterms:modified xsi:type="dcterms:W3CDTF">2024-10-01T19:15:15Z</dcterms:modified>
</cp:coreProperties>
</file>